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8" r:id="rId4"/>
    <p:sldId id="259" r:id="rId5"/>
  </p:sldIdLst>
  <p:sldSz cx="12192000" cy="5400675"/>
  <p:notesSz cx="6858000" cy="9144000"/>
  <p:custDataLst>
    <p:tags r:id="rId6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C004C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98" d="100"/>
          <a:sy n="98" d="100"/>
        </p:scale>
        <p:origin x="110" y="24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883861"/>
            <a:ext cx="9144000" cy="1880235"/>
          </a:xfrm>
        </p:spPr>
        <p:txBody>
          <a:bodyPr anchor="b"/>
          <a:lstStyle>
            <a:lvl1pPr algn="ctr">
              <a:defRPr sz="4725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2836605"/>
            <a:ext cx="9144000" cy="1303913"/>
          </a:xfrm>
        </p:spPr>
        <p:txBody>
          <a:bodyPr/>
          <a:lstStyle>
            <a:lvl1pPr marL="0" indent="0" algn="ctr">
              <a:buNone/>
              <a:defRPr sz="1890"/>
            </a:lvl1pPr>
            <a:lvl2pPr marL="360045" indent="0" algn="ctr">
              <a:buNone/>
              <a:defRPr sz="1575"/>
            </a:lvl2pPr>
            <a:lvl3pPr marL="720090" indent="0" algn="ctr">
              <a:buNone/>
              <a:defRPr sz="1418"/>
            </a:lvl3pPr>
            <a:lvl4pPr marL="1080135" indent="0" algn="ctr">
              <a:buNone/>
              <a:defRPr sz="1260"/>
            </a:lvl4pPr>
            <a:lvl5pPr marL="1440180" indent="0" algn="ctr">
              <a:buNone/>
              <a:defRPr sz="1260"/>
            </a:lvl5pPr>
            <a:lvl6pPr marL="1800225" indent="0" algn="ctr">
              <a:buNone/>
              <a:defRPr sz="1260"/>
            </a:lvl6pPr>
            <a:lvl7pPr marL="2160270" indent="0" algn="ctr">
              <a:buNone/>
              <a:defRPr sz="1260"/>
            </a:lvl7pPr>
            <a:lvl8pPr marL="2520315" indent="0" algn="ctr">
              <a:buNone/>
              <a:defRPr sz="1260"/>
            </a:lvl8pPr>
            <a:lvl9pPr marL="2880360" indent="0" algn="ctr">
              <a:buNone/>
              <a:defRPr sz="126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546140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663487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287536"/>
            <a:ext cx="2628900" cy="457682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287536"/>
            <a:ext cx="7734300" cy="4576822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208601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680746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346419"/>
            <a:ext cx="10515600" cy="2246530"/>
          </a:xfrm>
        </p:spPr>
        <p:txBody>
          <a:bodyPr anchor="b"/>
          <a:lstStyle>
            <a:lvl1pPr>
              <a:defRPr sz="4725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614203"/>
            <a:ext cx="10515600" cy="1181397"/>
          </a:xfrm>
        </p:spPr>
        <p:txBody>
          <a:bodyPr/>
          <a:lstStyle>
            <a:lvl1pPr marL="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1pPr>
            <a:lvl2pPr marL="360045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2pPr>
            <a:lvl3pPr marL="720090" indent="0">
              <a:buNone/>
              <a:defRPr sz="1418">
                <a:solidFill>
                  <a:schemeClr val="tx1">
                    <a:tint val="75000"/>
                  </a:schemeClr>
                </a:solidFill>
              </a:defRPr>
            </a:lvl3pPr>
            <a:lvl4pPr marL="1080135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4pPr>
            <a:lvl5pPr marL="1440180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5pPr>
            <a:lvl6pPr marL="1800225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6pPr>
            <a:lvl7pPr marL="2160270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7pPr>
            <a:lvl8pPr marL="2520315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8pPr>
            <a:lvl9pPr marL="2880360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479631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437680"/>
            <a:ext cx="5181600" cy="3426679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437680"/>
            <a:ext cx="5181600" cy="3426679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467864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287536"/>
            <a:ext cx="10515600" cy="104388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323916"/>
            <a:ext cx="5157787" cy="648831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60045" indent="0">
              <a:buNone/>
              <a:defRPr sz="1575" b="1"/>
            </a:lvl2pPr>
            <a:lvl3pPr marL="720090" indent="0">
              <a:buNone/>
              <a:defRPr sz="1418" b="1"/>
            </a:lvl3pPr>
            <a:lvl4pPr marL="1080135" indent="0">
              <a:buNone/>
              <a:defRPr sz="1260" b="1"/>
            </a:lvl4pPr>
            <a:lvl5pPr marL="1440180" indent="0">
              <a:buNone/>
              <a:defRPr sz="1260" b="1"/>
            </a:lvl5pPr>
            <a:lvl6pPr marL="1800225" indent="0">
              <a:buNone/>
              <a:defRPr sz="1260" b="1"/>
            </a:lvl6pPr>
            <a:lvl7pPr marL="2160270" indent="0">
              <a:buNone/>
              <a:defRPr sz="1260" b="1"/>
            </a:lvl7pPr>
            <a:lvl8pPr marL="2520315" indent="0">
              <a:buNone/>
              <a:defRPr sz="1260" b="1"/>
            </a:lvl8pPr>
            <a:lvl9pPr marL="2880360" indent="0">
              <a:buNone/>
              <a:defRPr sz="126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1972747"/>
            <a:ext cx="5157787" cy="2901613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323916"/>
            <a:ext cx="5183188" cy="648831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60045" indent="0">
              <a:buNone/>
              <a:defRPr sz="1575" b="1"/>
            </a:lvl2pPr>
            <a:lvl3pPr marL="720090" indent="0">
              <a:buNone/>
              <a:defRPr sz="1418" b="1"/>
            </a:lvl3pPr>
            <a:lvl4pPr marL="1080135" indent="0">
              <a:buNone/>
              <a:defRPr sz="1260" b="1"/>
            </a:lvl4pPr>
            <a:lvl5pPr marL="1440180" indent="0">
              <a:buNone/>
              <a:defRPr sz="1260" b="1"/>
            </a:lvl5pPr>
            <a:lvl6pPr marL="1800225" indent="0">
              <a:buNone/>
              <a:defRPr sz="1260" b="1"/>
            </a:lvl6pPr>
            <a:lvl7pPr marL="2160270" indent="0">
              <a:buNone/>
              <a:defRPr sz="1260" b="1"/>
            </a:lvl7pPr>
            <a:lvl8pPr marL="2520315" indent="0">
              <a:buNone/>
              <a:defRPr sz="1260" b="1"/>
            </a:lvl8pPr>
            <a:lvl9pPr marL="2880360" indent="0">
              <a:buNone/>
              <a:defRPr sz="126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1972747"/>
            <a:ext cx="5183188" cy="2901613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905461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417538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474414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0045"/>
            <a:ext cx="3932237" cy="1260158"/>
          </a:xfrm>
        </p:spPr>
        <p:txBody>
          <a:bodyPr anchor="b"/>
          <a:lstStyle>
            <a:lvl1pPr>
              <a:defRPr sz="252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777597"/>
            <a:ext cx="6172200" cy="3837980"/>
          </a:xfrm>
        </p:spPr>
        <p:txBody>
          <a:bodyPr/>
          <a:lstStyle>
            <a:lvl1pPr>
              <a:defRPr sz="2520"/>
            </a:lvl1pPr>
            <a:lvl2pPr>
              <a:defRPr sz="2205"/>
            </a:lvl2pPr>
            <a:lvl3pPr>
              <a:defRPr sz="189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1620202"/>
            <a:ext cx="3932237" cy="3001626"/>
          </a:xfrm>
        </p:spPr>
        <p:txBody>
          <a:bodyPr/>
          <a:lstStyle>
            <a:lvl1pPr marL="0" indent="0">
              <a:buNone/>
              <a:defRPr sz="1260"/>
            </a:lvl1pPr>
            <a:lvl2pPr marL="360045" indent="0">
              <a:buNone/>
              <a:defRPr sz="1103"/>
            </a:lvl2pPr>
            <a:lvl3pPr marL="720090" indent="0">
              <a:buNone/>
              <a:defRPr sz="945"/>
            </a:lvl3pPr>
            <a:lvl4pPr marL="1080135" indent="0">
              <a:buNone/>
              <a:defRPr sz="788"/>
            </a:lvl4pPr>
            <a:lvl5pPr marL="1440180" indent="0">
              <a:buNone/>
              <a:defRPr sz="788"/>
            </a:lvl5pPr>
            <a:lvl6pPr marL="1800225" indent="0">
              <a:buNone/>
              <a:defRPr sz="788"/>
            </a:lvl6pPr>
            <a:lvl7pPr marL="2160270" indent="0">
              <a:buNone/>
              <a:defRPr sz="788"/>
            </a:lvl7pPr>
            <a:lvl8pPr marL="2520315" indent="0">
              <a:buNone/>
              <a:defRPr sz="788"/>
            </a:lvl8pPr>
            <a:lvl9pPr marL="2880360" indent="0">
              <a:buNone/>
              <a:defRPr sz="788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127387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0045"/>
            <a:ext cx="3932237" cy="1260158"/>
          </a:xfrm>
        </p:spPr>
        <p:txBody>
          <a:bodyPr anchor="b"/>
          <a:lstStyle>
            <a:lvl1pPr>
              <a:defRPr sz="252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777597"/>
            <a:ext cx="6172200" cy="3837980"/>
          </a:xfrm>
        </p:spPr>
        <p:txBody>
          <a:bodyPr anchor="t"/>
          <a:lstStyle>
            <a:lvl1pPr marL="0" indent="0">
              <a:buNone/>
              <a:defRPr sz="2520"/>
            </a:lvl1pPr>
            <a:lvl2pPr marL="360045" indent="0">
              <a:buNone/>
              <a:defRPr sz="2205"/>
            </a:lvl2pPr>
            <a:lvl3pPr marL="720090" indent="0">
              <a:buNone/>
              <a:defRPr sz="1890"/>
            </a:lvl3pPr>
            <a:lvl4pPr marL="1080135" indent="0">
              <a:buNone/>
              <a:defRPr sz="1575"/>
            </a:lvl4pPr>
            <a:lvl5pPr marL="1440180" indent="0">
              <a:buNone/>
              <a:defRPr sz="1575"/>
            </a:lvl5pPr>
            <a:lvl6pPr marL="1800225" indent="0">
              <a:buNone/>
              <a:defRPr sz="1575"/>
            </a:lvl6pPr>
            <a:lvl7pPr marL="2160270" indent="0">
              <a:buNone/>
              <a:defRPr sz="1575"/>
            </a:lvl7pPr>
            <a:lvl8pPr marL="2520315" indent="0">
              <a:buNone/>
              <a:defRPr sz="1575"/>
            </a:lvl8pPr>
            <a:lvl9pPr marL="2880360" indent="0">
              <a:buNone/>
              <a:defRPr sz="1575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1620202"/>
            <a:ext cx="3932237" cy="3001626"/>
          </a:xfrm>
        </p:spPr>
        <p:txBody>
          <a:bodyPr/>
          <a:lstStyle>
            <a:lvl1pPr marL="0" indent="0">
              <a:buNone/>
              <a:defRPr sz="1260"/>
            </a:lvl1pPr>
            <a:lvl2pPr marL="360045" indent="0">
              <a:buNone/>
              <a:defRPr sz="1103"/>
            </a:lvl2pPr>
            <a:lvl3pPr marL="720090" indent="0">
              <a:buNone/>
              <a:defRPr sz="945"/>
            </a:lvl3pPr>
            <a:lvl4pPr marL="1080135" indent="0">
              <a:buNone/>
              <a:defRPr sz="788"/>
            </a:lvl4pPr>
            <a:lvl5pPr marL="1440180" indent="0">
              <a:buNone/>
              <a:defRPr sz="788"/>
            </a:lvl5pPr>
            <a:lvl6pPr marL="1800225" indent="0">
              <a:buNone/>
              <a:defRPr sz="788"/>
            </a:lvl6pPr>
            <a:lvl7pPr marL="2160270" indent="0">
              <a:buNone/>
              <a:defRPr sz="788"/>
            </a:lvl7pPr>
            <a:lvl8pPr marL="2520315" indent="0">
              <a:buNone/>
              <a:defRPr sz="788"/>
            </a:lvl8pPr>
            <a:lvl9pPr marL="2880360" indent="0">
              <a:buNone/>
              <a:defRPr sz="788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966151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287536"/>
            <a:ext cx="10515600" cy="10438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37680"/>
            <a:ext cx="10515600" cy="34266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5005626"/>
            <a:ext cx="2743200" cy="2875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5369D1-D5BF-454E-ABB4-46B228A8D767}" type="datetimeFigureOut">
              <a:rPr lang="es-ES" smtClean="0"/>
              <a:t>28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5005626"/>
            <a:ext cx="4114800" cy="2875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5005626"/>
            <a:ext cx="2743200" cy="2875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0AC6C1-034A-495C-9353-905C3CAE030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18852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720090" rtl="0" eaLnBrk="1" latinLnBrk="0" hangingPunct="1">
        <a:lnSpc>
          <a:spcPct val="90000"/>
        </a:lnSpc>
        <a:spcBef>
          <a:spcPct val="0"/>
        </a:spcBef>
        <a:buNone/>
        <a:defRPr sz="34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23" indent="-180023" algn="l" defTabSz="720090" rtl="0" eaLnBrk="1" latinLnBrk="0" hangingPunct="1">
        <a:lnSpc>
          <a:spcPct val="90000"/>
        </a:lnSpc>
        <a:spcBef>
          <a:spcPts val="788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1pPr>
      <a:lvl2pPr marL="540068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900113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60158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4pPr>
      <a:lvl5pPr marL="1620203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5pPr>
      <a:lvl6pPr marL="1980248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6pPr>
      <a:lvl7pPr marL="2340293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7pPr>
      <a:lvl8pPr marL="2700338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8pPr>
      <a:lvl9pPr marL="3060383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1pPr>
      <a:lvl2pPr marL="360045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2pPr>
      <a:lvl3pPr marL="72009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3pPr>
      <a:lvl4pPr marL="1080135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4pPr>
      <a:lvl5pPr marL="144018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5pPr>
      <a:lvl6pPr marL="1800225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6pPr>
      <a:lvl7pPr marL="216027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7pPr>
      <a:lvl8pPr marL="2520315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8pPr>
      <a:lvl9pPr marL="288036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620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269798" y="805561"/>
            <a:ext cx="3700773" cy="3659907"/>
            <a:chOff x="1010194" y="1284515"/>
            <a:chExt cx="3770812" cy="3731621"/>
          </a:xfrm>
        </p:grpSpPr>
        <p:sp>
          <p:nvSpPr>
            <p:cNvPr id="4" name="Oval 3"/>
            <p:cNvSpPr/>
            <p:nvPr/>
          </p:nvSpPr>
          <p:spPr>
            <a:xfrm>
              <a:off x="1071154" y="1341120"/>
              <a:ext cx="3648892" cy="3535680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5" name="Oval 4"/>
            <p:cNvSpPr/>
            <p:nvPr/>
          </p:nvSpPr>
          <p:spPr>
            <a:xfrm>
              <a:off x="1071154" y="1423851"/>
              <a:ext cx="3648892" cy="3535680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6" name="Oval 5"/>
            <p:cNvSpPr/>
            <p:nvPr/>
          </p:nvSpPr>
          <p:spPr>
            <a:xfrm>
              <a:off x="1132114" y="1341120"/>
              <a:ext cx="3648892" cy="3535680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7" name="Oval 6"/>
            <p:cNvSpPr/>
            <p:nvPr/>
          </p:nvSpPr>
          <p:spPr>
            <a:xfrm>
              <a:off x="1010194" y="1341120"/>
              <a:ext cx="3648892" cy="3535680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8" name="Oval 7"/>
            <p:cNvSpPr/>
            <p:nvPr/>
          </p:nvSpPr>
          <p:spPr>
            <a:xfrm>
              <a:off x="1010194" y="1480456"/>
              <a:ext cx="3648892" cy="3535680"/>
            </a:xfrm>
            <a:prstGeom prst="ellipse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9" name="Oval 8"/>
            <p:cNvSpPr/>
            <p:nvPr/>
          </p:nvSpPr>
          <p:spPr>
            <a:xfrm>
              <a:off x="1010194" y="1284515"/>
              <a:ext cx="3648892" cy="3535680"/>
            </a:xfrm>
            <a:prstGeom prst="ellipse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10" name="Oval 9"/>
            <p:cNvSpPr/>
            <p:nvPr/>
          </p:nvSpPr>
          <p:spPr>
            <a:xfrm>
              <a:off x="1071154" y="1341120"/>
              <a:ext cx="3648892" cy="3535680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1161969" y="1009894"/>
            <a:ext cx="2868429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0" dirty="0" smtClean="0">
                <a:latin typeface="Gem"/>
                <a:cs typeface="Gemunu Libre Light" panose="02000303000000000000" pitchFamily="2" charset="0"/>
              </a:rPr>
              <a:t>K</a:t>
            </a:r>
            <a:endParaRPr lang="es-ES" sz="20000" dirty="0">
              <a:latin typeface="Gem"/>
              <a:cs typeface="Gemunu Libre Light" panose="02000303000000000000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470401" y="1293995"/>
            <a:ext cx="7369206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5000" dirty="0" smtClean="0">
                <a:latin typeface="Gemunu Libre Light" panose="02000303000000000000" pitchFamily="2" charset="0"/>
                <a:ea typeface="Roboto" pitchFamily="2" charset="0"/>
                <a:cs typeface="Gemunu Libre Light" panose="02000303000000000000" pitchFamily="2" charset="0"/>
              </a:rPr>
              <a:t>FUMAGNO</a:t>
            </a:r>
            <a:endParaRPr lang="es-ES" sz="15000" dirty="0">
              <a:latin typeface="Gemunu Libre Light" panose="02000303000000000000" pitchFamily="2" charset="0"/>
              <a:ea typeface="Roboto" pitchFamily="2" charset="0"/>
              <a:cs typeface="Gemunu Libre Light" panose="02000303000000000000" pitchFamily="2" charset="0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V="1">
            <a:off x="4678403" y="3415134"/>
            <a:ext cx="6815016" cy="10798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3444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269798" y="805561"/>
            <a:ext cx="3700773" cy="3659907"/>
            <a:chOff x="1010194" y="1284515"/>
            <a:chExt cx="3770812" cy="3731621"/>
          </a:xfrm>
        </p:grpSpPr>
        <p:sp>
          <p:nvSpPr>
            <p:cNvPr id="4" name="Oval 3"/>
            <p:cNvSpPr/>
            <p:nvPr/>
          </p:nvSpPr>
          <p:spPr>
            <a:xfrm>
              <a:off x="1071154" y="1341120"/>
              <a:ext cx="3648892" cy="353568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>
                <a:solidFill>
                  <a:schemeClr val="bg1"/>
                </a:solidFill>
              </a:endParaRPr>
            </a:p>
          </p:txBody>
        </p:sp>
        <p:sp>
          <p:nvSpPr>
            <p:cNvPr id="5" name="Oval 4"/>
            <p:cNvSpPr/>
            <p:nvPr/>
          </p:nvSpPr>
          <p:spPr>
            <a:xfrm>
              <a:off x="1071154" y="1423851"/>
              <a:ext cx="3648892" cy="353568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>
                <a:solidFill>
                  <a:schemeClr val="bg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1132114" y="1341120"/>
              <a:ext cx="3648892" cy="353568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>
                <a:solidFill>
                  <a:schemeClr val="bg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1010194" y="1341120"/>
              <a:ext cx="3648892" cy="3535680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>
                <a:solidFill>
                  <a:schemeClr val="bg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1010194" y="1480456"/>
              <a:ext cx="3648892" cy="3535680"/>
            </a:xfrm>
            <a:prstGeom prst="ellipse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>
                <a:solidFill>
                  <a:schemeClr val="bg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1010194" y="1284515"/>
              <a:ext cx="3648892" cy="3535680"/>
            </a:xfrm>
            <a:prstGeom prst="ellipse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>
                <a:solidFill>
                  <a:schemeClr val="bg1"/>
                </a:solidFill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1071154" y="1341120"/>
              <a:ext cx="3648892" cy="3535680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>
                <a:solidFill>
                  <a:schemeClr val="bg1"/>
                </a:solidFill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1161969" y="1009894"/>
            <a:ext cx="2868429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0" dirty="0" smtClean="0">
                <a:solidFill>
                  <a:schemeClr val="bg1"/>
                </a:solidFill>
                <a:latin typeface="Gem"/>
                <a:cs typeface="Gemunu Libre Light" panose="02000303000000000000" pitchFamily="2" charset="0"/>
              </a:rPr>
              <a:t>K</a:t>
            </a:r>
            <a:endParaRPr lang="es-ES" sz="20000" dirty="0">
              <a:solidFill>
                <a:schemeClr val="bg1"/>
              </a:solidFill>
              <a:latin typeface="Gem"/>
              <a:cs typeface="Gemunu Libre Light" panose="02000303000000000000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470401" y="1293995"/>
            <a:ext cx="7369206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5000" dirty="0" smtClean="0">
                <a:solidFill>
                  <a:schemeClr val="bg1"/>
                </a:solidFill>
                <a:latin typeface="Gemunu Libre Light" panose="02000303000000000000" pitchFamily="2" charset="0"/>
                <a:ea typeface="Roboto" pitchFamily="2" charset="0"/>
                <a:cs typeface="Gemunu Libre Light" panose="02000303000000000000" pitchFamily="2" charset="0"/>
              </a:rPr>
              <a:t>FUMAGNO</a:t>
            </a:r>
            <a:endParaRPr lang="es-ES" sz="15000" dirty="0">
              <a:solidFill>
                <a:schemeClr val="bg1"/>
              </a:solidFill>
              <a:latin typeface="Gemunu Libre Light" panose="02000303000000000000" pitchFamily="2" charset="0"/>
              <a:ea typeface="Roboto" pitchFamily="2" charset="0"/>
              <a:cs typeface="Gemunu Libre Light" panose="02000303000000000000" pitchFamily="2" charset="0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V="1">
            <a:off x="4678403" y="3415134"/>
            <a:ext cx="6815016" cy="10798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442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269798" y="805561"/>
            <a:ext cx="3700773" cy="3659907"/>
            <a:chOff x="1010194" y="1284515"/>
            <a:chExt cx="3770812" cy="3731621"/>
          </a:xfrm>
        </p:grpSpPr>
        <p:sp>
          <p:nvSpPr>
            <p:cNvPr id="4" name="Oval 3"/>
            <p:cNvSpPr/>
            <p:nvPr/>
          </p:nvSpPr>
          <p:spPr>
            <a:xfrm>
              <a:off x="1071154" y="1341120"/>
              <a:ext cx="3648892" cy="3535680"/>
            </a:xfrm>
            <a:prstGeom prst="ellipse">
              <a:avLst/>
            </a:prstGeom>
            <a:noFill/>
            <a:ln w="28575">
              <a:solidFill>
                <a:srgbClr val="4C00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5" name="Oval 4"/>
            <p:cNvSpPr/>
            <p:nvPr/>
          </p:nvSpPr>
          <p:spPr>
            <a:xfrm>
              <a:off x="1071154" y="1423851"/>
              <a:ext cx="3648892" cy="3535680"/>
            </a:xfrm>
            <a:prstGeom prst="ellipse">
              <a:avLst/>
            </a:prstGeom>
            <a:noFill/>
            <a:ln w="28575">
              <a:solidFill>
                <a:srgbClr val="4C00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6" name="Oval 5"/>
            <p:cNvSpPr/>
            <p:nvPr/>
          </p:nvSpPr>
          <p:spPr>
            <a:xfrm>
              <a:off x="1132114" y="1341120"/>
              <a:ext cx="3648892" cy="3535680"/>
            </a:xfrm>
            <a:prstGeom prst="ellipse">
              <a:avLst/>
            </a:prstGeom>
            <a:noFill/>
            <a:ln w="28575">
              <a:solidFill>
                <a:srgbClr val="4C00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7" name="Oval 6"/>
            <p:cNvSpPr/>
            <p:nvPr/>
          </p:nvSpPr>
          <p:spPr>
            <a:xfrm>
              <a:off x="1010194" y="1341120"/>
              <a:ext cx="3648892" cy="3535680"/>
            </a:xfrm>
            <a:prstGeom prst="ellipse">
              <a:avLst/>
            </a:prstGeom>
            <a:noFill/>
            <a:ln w="38100">
              <a:solidFill>
                <a:srgbClr val="4C00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8" name="Oval 7"/>
            <p:cNvSpPr/>
            <p:nvPr/>
          </p:nvSpPr>
          <p:spPr>
            <a:xfrm>
              <a:off x="1010194" y="1480456"/>
              <a:ext cx="3648892" cy="3535680"/>
            </a:xfrm>
            <a:prstGeom prst="ellipse">
              <a:avLst/>
            </a:prstGeom>
            <a:noFill/>
            <a:ln w="6350">
              <a:solidFill>
                <a:srgbClr val="4C00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9" name="Oval 8"/>
            <p:cNvSpPr/>
            <p:nvPr/>
          </p:nvSpPr>
          <p:spPr>
            <a:xfrm>
              <a:off x="1010194" y="1284515"/>
              <a:ext cx="3648892" cy="3535680"/>
            </a:xfrm>
            <a:prstGeom prst="ellipse">
              <a:avLst/>
            </a:prstGeom>
            <a:noFill/>
            <a:ln w="6350">
              <a:solidFill>
                <a:srgbClr val="4C00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  <p:sp>
          <p:nvSpPr>
            <p:cNvPr id="10" name="Oval 9"/>
            <p:cNvSpPr/>
            <p:nvPr/>
          </p:nvSpPr>
          <p:spPr>
            <a:xfrm>
              <a:off x="1071154" y="1341120"/>
              <a:ext cx="3648892" cy="3535680"/>
            </a:xfrm>
            <a:prstGeom prst="ellipse">
              <a:avLst/>
            </a:prstGeom>
            <a:noFill/>
            <a:ln w="38100">
              <a:solidFill>
                <a:srgbClr val="4C00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/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1161969" y="1009894"/>
            <a:ext cx="2868429" cy="31700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ES" sz="20000" dirty="0" smtClean="0">
                <a:solidFill>
                  <a:srgbClr val="4C004C"/>
                </a:solidFill>
                <a:latin typeface="Gem"/>
                <a:cs typeface="Gemunu Libre Light" panose="02000303000000000000" pitchFamily="2" charset="0"/>
              </a:rPr>
              <a:t>K</a:t>
            </a:r>
            <a:endParaRPr lang="es-ES" sz="20000" dirty="0">
              <a:solidFill>
                <a:srgbClr val="4C004C"/>
              </a:solidFill>
              <a:latin typeface="Gem"/>
              <a:cs typeface="Gemunu Libre Light" panose="02000303000000000000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470401" y="1293995"/>
            <a:ext cx="7369206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5000" dirty="0" smtClean="0">
                <a:solidFill>
                  <a:srgbClr val="4C004C"/>
                </a:solidFill>
                <a:latin typeface="Gemunu Libre Light" panose="02000303000000000000" pitchFamily="2" charset="0"/>
                <a:ea typeface="Roboto" pitchFamily="2" charset="0"/>
                <a:cs typeface="Gemunu Libre Light" panose="02000303000000000000" pitchFamily="2" charset="0"/>
              </a:rPr>
              <a:t>FUMAGNO</a:t>
            </a:r>
            <a:endParaRPr lang="es-ES" sz="15000" dirty="0">
              <a:solidFill>
                <a:srgbClr val="4C004C"/>
              </a:solidFill>
              <a:latin typeface="Gemunu Libre Light" panose="02000303000000000000" pitchFamily="2" charset="0"/>
              <a:ea typeface="Roboto" pitchFamily="2" charset="0"/>
              <a:cs typeface="Gemunu Libre Light" panose="02000303000000000000" pitchFamily="2" charset="0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V="1">
            <a:off x="4678403" y="3415134"/>
            <a:ext cx="6815016" cy="10798"/>
          </a:xfrm>
          <a:prstGeom prst="line">
            <a:avLst/>
          </a:prstGeom>
          <a:ln w="57150">
            <a:solidFill>
              <a:srgbClr val="4C00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8426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269798" y="805561"/>
            <a:ext cx="3700773" cy="3659907"/>
            <a:chOff x="1010194" y="1284515"/>
            <a:chExt cx="3770812" cy="3731621"/>
          </a:xfrm>
        </p:grpSpPr>
        <p:sp>
          <p:nvSpPr>
            <p:cNvPr id="4" name="Oval 3"/>
            <p:cNvSpPr/>
            <p:nvPr/>
          </p:nvSpPr>
          <p:spPr>
            <a:xfrm>
              <a:off x="1071154" y="1341120"/>
              <a:ext cx="3648892" cy="353568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>
                <a:solidFill>
                  <a:schemeClr val="bg1"/>
                </a:solidFill>
              </a:endParaRPr>
            </a:p>
          </p:txBody>
        </p:sp>
        <p:sp>
          <p:nvSpPr>
            <p:cNvPr id="5" name="Oval 4"/>
            <p:cNvSpPr/>
            <p:nvPr/>
          </p:nvSpPr>
          <p:spPr>
            <a:xfrm>
              <a:off x="1071154" y="1423851"/>
              <a:ext cx="3648892" cy="353568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>
                <a:solidFill>
                  <a:schemeClr val="bg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1132114" y="1341120"/>
              <a:ext cx="3648892" cy="353568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>
                <a:solidFill>
                  <a:schemeClr val="bg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1010194" y="1341120"/>
              <a:ext cx="3648892" cy="3535680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>
                <a:solidFill>
                  <a:schemeClr val="bg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1010194" y="1480456"/>
              <a:ext cx="3648892" cy="3535680"/>
            </a:xfrm>
            <a:prstGeom prst="ellipse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>
                <a:solidFill>
                  <a:schemeClr val="bg1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1010194" y="1284515"/>
              <a:ext cx="3648892" cy="3535680"/>
            </a:xfrm>
            <a:prstGeom prst="ellipse">
              <a:avLst/>
            </a:pr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>
                <a:solidFill>
                  <a:schemeClr val="bg1"/>
                </a:solidFill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1071154" y="1341120"/>
              <a:ext cx="3648892" cy="3535680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>
                <a:solidFill>
                  <a:schemeClr val="bg1"/>
                </a:solidFill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1161969" y="1009894"/>
            <a:ext cx="2868429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0" dirty="0" smtClean="0">
                <a:solidFill>
                  <a:schemeClr val="bg1"/>
                </a:solidFill>
                <a:latin typeface="Gem"/>
                <a:cs typeface="Gemunu Libre Light" panose="02000303000000000000" pitchFamily="2" charset="0"/>
              </a:rPr>
              <a:t>K</a:t>
            </a:r>
            <a:endParaRPr lang="es-ES" sz="20000" dirty="0">
              <a:solidFill>
                <a:schemeClr val="bg1"/>
              </a:solidFill>
              <a:latin typeface="Gem"/>
              <a:cs typeface="Gemunu Libre Light" panose="02000303000000000000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470401" y="1293995"/>
            <a:ext cx="7369206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5000" dirty="0" smtClean="0">
                <a:solidFill>
                  <a:schemeClr val="bg1"/>
                </a:solidFill>
                <a:latin typeface="Gemunu Libre Light" panose="02000303000000000000" pitchFamily="2" charset="0"/>
                <a:ea typeface="Roboto" pitchFamily="2" charset="0"/>
                <a:cs typeface="Gemunu Libre Light" panose="02000303000000000000" pitchFamily="2" charset="0"/>
              </a:rPr>
              <a:t>FUMAGNO</a:t>
            </a:r>
            <a:endParaRPr lang="es-ES" sz="15000" dirty="0">
              <a:solidFill>
                <a:schemeClr val="bg1"/>
              </a:solidFill>
              <a:latin typeface="Gemunu Libre Light" panose="02000303000000000000" pitchFamily="2" charset="0"/>
              <a:ea typeface="Roboto" pitchFamily="2" charset="0"/>
              <a:cs typeface="Gemunu Libre Light" panose="02000303000000000000" pitchFamily="2" charset="0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V="1">
            <a:off x="4678403" y="3415134"/>
            <a:ext cx="6815016" cy="10798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0450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</TotalTime>
  <Words>8</Words>
  <Application>Microsoft Office PowerPoint</Application>
  <PresentationFormat>Custom</PresentationFormat>
  <Paragraphs>8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Calibri Light</vt:lpstr>
      <vt:lpstr>Gem</vt:lpstr>
      <vt:lpstr>Gemunu Libre Light</vt:lpstr>
      <vt:lpstr>Roboto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dit Nuez</dc:creator>
  <cp:lastModifiedBy>Judit Nuez</cp:lastModifiedBy>
  <cp:revision>8</cp:revision>
  <dcterms:created xsi:type="dcterms:W3CDTF">2018-09-12T09:09:45Z</dcterms:created>
  <dcterms:modified xsi:type="dcterms:W3CDTF">2018-10-28T22:03:17Z</dcterms:modified>
</cp:coreProperties>
</file>